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7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8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20"/>
  </p:notesMasterIdLst>
  <p:sldIdLst>
    <p:sldId id="256" r:id="rId5"/>
    <p:sldId id="2134805295" r:id="rId6"/>
    <p:sldId id="2134805298" r:id="rId7"/>
    <p:sldId id="2134805313" r:id="rId8"/>
    <p:sldId id="2134805301" r:id="rId9"/>
    <p:sldId id="2134805302" r:id="rId10"/>
    <p:sldId id="2134805303" r:id="rId11"/>
    <p:sldId id="2134805305" r:id="rId12"/>
    <p:sldId id="2134805306" r:id="rId13"/>
    <p:sldId id="2134805309" r:id="rId14"/>
    <p:sldId id="2134805310" r:id="rId15"/>
    <p:sldId id="2134805311" r:id="rId16"/>
    <p:sldId id="2134805312" r:id="rId17"/>
    <p:sldId id="2134805307" r:id="rId18"/>
    <p:sldId id="2134805314" r:id="rId19"/>
  </p:sldIdLst>
  <p:sldSz cx="9144000" cy="6858000" type="screen4x3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3BF5AC-4C49-4925-8DDD-843A0D85E394}" v="10" dt="2020-05-08T13:13:41.68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2029" autoAdjust="0"/>
  </p:normalViewPr>
  <p:slideViewPr>
    <p:cSldViewPr snapToGrid="0">
      <p:cViewPr varScale="1">
        <p:scale>
          <a:sx n="67" d="100"/>
          <a:sy n="67" d="100"/>
        </p:scale>
        <p:origin x="128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biri, Ayda" userId="b37f3988-c176-4be8-807a-107e80ddceeb" providerId="ADAL" clId="{0D3BF5AC-4C49-4925-8DDD-843A0D85E394}"/>
    <pc:docChg chg="custSel addSld modSld">
      <pc:chgData name="Dabiri, Ayda" userId="b37f3988-c176-4be8-807a-107e80ddceeb" providerId="ADAL" clId="{0D3BF5AC-4C49-4925-8DDD-843A0D85E394}" dt="2020-05-08T13:13:45.973" v="74" actId="115"/>
      <pc:docMkLst>
        <pc:docMk/>
      </pc:docMkLst>
      <pc:sldChg chg="modSp">
        <pc:chgData name="Dabiri, Ayda" userId="b37f3988-c176-4be8-807a-107e80ddceeb" providerId="ADAL" clId="{0D3BF5AC-4C49-4925-8DDD-843A0D85E394}" dt="2020-05-08T13:13:45.973" v="74" actId="115"/>
        <pc:sldMkLst>
          <pc:docMk/>
          <pc:sldMk cId="2383934936" sldId="256"/>
        </pc:sldMkLst>
        <pc:spChg chg="mod">
          <ac:chgData name="Dabiri, Ayda" userId="b37f3988-c176-4be8-807a-107e80ddceeb" providerId="ADAL" clId="{0D3BF5AC-4C49-4925-8DDD-843A0D85E394}" dt="2020-05-08T13:09:45.948" v="8" actId="20577"/>
          <ac:spMkLst>
            <pc:docMk/>
            <pc:sldMk cId="2383934936" sldId="256"/>
            <ac:spMk id="9" creationId="{8C7CA0D1-8B49-4675-8A5E-57C7F64475C1}"/>
          </ac:spMkLst>
        </pc:spChg>
        <pc:graphicFrameChg chg="mod modGraphic">
          <ac:chgData name="Dabiri, Ayda" userId="b37f3988-c176-4be8-807a-107e80ddceeb" providerId="ADAL" clId="{0D3BF5AC-4C49-4925-8DDD-843A0D85E394}" dt="2020-05-08T13:13:45.973" v="74" actId="115"/>
          <ac:graphicFrameMkLst>
            <pc:docMk/>
            <pc:sldMk cId="2383934936" sldId="256"/>
            <ac:graphicFrameMk id="14" creationId="{F23ADA95-2EB2-45F5-AA21-8B52FA9A9E11}"/>
          </ac:graphicFrameMkLst>
        </pc:graphicFrameChg>
      </pc:sldChg>
      <pc:sldChg chg="modSp add">
        <pc:chgData name="Dabiri, Ayda" userId="b37f3988-c176-4be8-807a-107e80ddceeb" providerId="ADAL" clId="{0D3BF5AC-4C49-4925-8DDD-843A0D85E394}" dt="2020-05-08T13:12:50.816" v="64" actId="1076"/>
        <pc:sldMkLst>
          <pc:docMk/>
          <pc:sldMk cId="650433614" sldId="2134805295"/>
        </pc:sldMkLst>
        <pc:spChg chg="mod">
          <ac:chgData name="Dabiri, Ayda" userId="b37f3988-c176-4be8-807a-107e80ddceeb" providerId="ADAL" clId="{0D3BF5AC-4C49-4925-8DDD-843A0D85E394}" dt="2020-05-08T13:12:50.816" v="64" actId="1076"/>
          <ac:spMkLst>
            <pc:docMk/>
            <pc:sldMk cId="650433614" sldId="2134805295"/>
            <ac:spMk id="3" creationId="{07CCB464-A420-4E9C-A841-17F2C517B008}"/>
          </ac:spMkLst>
        </pc:spChg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1520169222" sldId="2134805298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2042615158" sldId="2134805301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3783495114" sldId="2134805302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1651591618" sldId="2134805303"/>
        </pc:sldMkLst>
      </pc:sldChg>
      <pc:sldChg chg="modSp add">
        <pc:chgData name="Dabiri, Ayda" userId="b37f3988-c176-4be8-807a-107e80ddceeb" providerId="ADAL" clId="{0D3BF5AC-4C49-4925-8DDD-843A0D85E394}" dt="2020-05-08T13:10:24.720" v="18" actId="1076"/>
        <pc:sldMkLst>
          <pc:docMk/>
          <pc:sldMk cId="1394197787" sldId="2134805305"/>
        </pc:sldMkLst>
        <pc:spChg chg="mod">
          <ac:chgData name="Dabiri, Ayda" userId="b37f3988-c176-4be8-807a-107e80ddceeb" providerId="ADAL" clId="{0D3BF5AC-4C49-4925-8DDD-843A0D85E394}" dt="2020-05-08T13:10:24.720" v="18" actId="1076"/>
          <ac:spMkLst>
            <pc:docMk/>
            <pc:sldMk cId="1394197787" sldId="2134805305"/>
            <ac:spMk id="12" creationId="{67CD193B-6AD8-4679-B598-6815E69A8BF6}"/>
          </ac:spMkLst>
        </pc:spChg>
        <pc:picChg chg="mod">
          <ac:chgData name="Dabiri, Ayda" userId="b37f3988-c176-4be8-807a-107e80ddceeb" providerId="ADAL" clId="{0D3BF5AC-4C49-4925-8DDD-843A0D85E394}" dt="2020-05-08T13:10:20.770" v="17" actId="1076"/>
          <ac:picMkLst>
            <pc:docMk/>
            <pc:sldMk cId="1394197787" sldId="2134805305"/>
            <ac:picMk id="6" creationId="{E7165C44-E4A2-4EDA-BC1C-502D6CDB9954}"/>
          </ac:picMkLst>
        </pc:picChg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4029832735" sldId="2134805306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17603143" sldId="2134805307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3255673088" sldId="2134805309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1252631050" sldId="2134805310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1045437831" sldId="2134805311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3414954681" sldId="2134805312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2725114622" sldId="2134805313"/>
        </pc:sldMkLst>
      </pc:sldChg>
      <pc:sldChg chg="add">
        <pc:chgData name="Dabiri, Ayda" userId="b37f3988-c176-4be8-807a-107e80ddceeb" providerId="ADAL" clId="{0D3BF5AC-4C49-4925-8DDD-843A0D85E394}" dt="2020-05-08T13:09:38.384" v="0"/>
        <pc:sldMkLst>
          <pc:docMk/>
          <pc:sldMk cId="53191565" sldId="2134805314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249363" y="1279525"/>
            <a:ext cx="4605337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303041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27403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033166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71513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37678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5853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63563"/>
            <a:ext cx="4225925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933166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174280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0078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72837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9456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74287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38275" y="563563"/>
            <a:ext cx="4225925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26149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35012" y="4518025"/>
            <a:ext cx="5632450" cy="169277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GB" smtClean="0"/>
              <a:pPr/>
              <a:t>8 May, 2020</a:t>
            </a:fld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903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png"/><Relationship Id="rId5" Type="http://schemas.openxmlformats.org/officeDocument/2006/relationships/tags" Target="../tags/tag4.xml"/><Relationship Id="rId10" Type="http://schemas.openxmlformats.org/officeDocument/2006/relationships/image" Target="../media/image2.emf"/><Relationship Id="rId4" Type="http://schemas.openxmlformats.org/officeDocument/2006/relationships/tags" Target="../tags/tag3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688649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974799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843111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GB" sz="3300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2BCC509-1E6E-40BC-AA03-93F3B970C3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duotone>
              <a:prstClr val="black"/>
              <a:srgbClr val="7DDAF3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ltGray">
          <a:xfrm>
            <a:off x="2" y="189590"/>
            <a:ext cx="2970093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A2ADF2A4-8A14-44FC-81DE-3AED9B5FCA02}"/>
              </a:ext>
            </a:extLst>
          </p:cNvPr>
          <p:cNvSpPr/>
          <p:nvPr/>
        </p:nvSpPr>
        <p:spPr bwMode="ltGray">
          <a:xfrm>
            <a:off x="0" y="-2"/>
            <a:ext cx="1856519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rgbClr val="004A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2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4AAC4B1-E577-4B69-BDB1-6F93914ED355}"/>
              </a:ext>
            </a:extLst>
          </p:cNvPr>
          <p:cNvSpPr/>
          <p:nvPr/>
        </p:nvSpPr>
        <p:spPr bwMode="ltGray">
          <a:xfrm rot="16200000" flipH="1" flipV="1">
            <a:off x="-931828" y="2811902"/>
            <a:ext cx="6674807" cy="1417390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rgbClr val="018ECB">
              <a:alpha val="87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2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B47BB94D-76B2-4250-B6AC-E88F67206AE5}"/>
              </a:ext>
            </a:extLst>
          </p:cNvPr>
          <p:cNvSpPr/>
          <p:nvPr/>
        </p:nvSpPr>
        <p:spPr bwMode="ltGray">
          <a:xfrm rot="16200000" flipH="1" flipV="1">
            <a:off x="-1849158" y="2038749"/>
            <a:ext cx="6668411" cy="2970093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rgbClr val="018ECB">
              <a:alpha val="87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224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10C2865-0002-4D04-9A08-A7507916E0DD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4"/>
            </p:custDataLst>
          </p:nvPr>
        </p:nvSpPr>
        <p:spPr>
          <a:xfrm>
            <a:off x="2851501" y="4726068"/>
            <a:ext cx="5874591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050">
                <a:solidFill>
                  <a:schemeClr val="accent5"/>
                </a:solidFill>
              </a:defRPr>
            </a:lvl1pPr>
            <a:lvl2pPr marL="86916" indent="0">
              <a:buNone/>
              <a:defRPr>
                <a:solidFill>
                  <a:schemeClr val="bg1"/>
                </a:solidFill>
              </a:defRPr>
            </a:lvl2pPr>
            <a:lvl3pPr marL="349758" indent="0">
              <a:buNone/>
              <a:defRPr>
                <a:solidFill>
                  <a:schemeClr val="bg1"/>
                </a:solidFill>
              </a:defRPr>
            </a:lvl3pPr>
            <a:lvl4pPr marL="610362" indent="0">
              <a:buNone/>
              <a:defRPr>
                <a:solidFill>
                  <a:schemeClr val="bg1"/>
                </a:solidFill>
              </a:defRPr>
            </a:lvl4pPr>
            <a:lvl5pPr marL="87096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Edit date or title/role</a:t>
            </a:r>
            <a:endParaRPr lang="en-GB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172286-520A-4D85-AC04-C8D9C6A46AF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5"/>
            </p:custDataLst>
          </p:nvPr>
        </p:nvSpPr>
        <p:spPr>
          <a:xfrm>
            <a:off x="2851501" y="4269366"/>
            <a:ext cx="5874591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500">
                <a:solidFill>
                  <a:schemeClr val="accent5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  <a:endParaRPr lang="en-GB" dirty="0"/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0F432B6E-6ADC-479A-8A53-39454CDC7D93}"/>
              </a:ext>
            </a:extLst>
          </p:cNvPr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>
          <a:xfrm>
            <a:off x="2851501" y="3422132"/>
            <a:ext cx="5874591" cy="54938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aseline="0">
                <a:ln w="6350" cap="flat">
                  <a:noFill/>
                  <a:miter lim="800000"/>
                </a:ln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0D7B681-7F8B-4037-9D71-342B504B7B1C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2851501" y="4120439"/>
            <a:ext cx="5874591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  <p:pic>
        <p:nvPicPr>
          <p:cNvPr id="27" name="Picture 350" descr="WHO Logo [World Health Organization - who.int] Download Vector">
            <a:extLst>
              <a:ext uri="{FF2B5EF4-FFF2-40B4-BE49-F238E27FC236}">
                <a16:creationId xmlns:a16="http://schemas.microsoft.com/office/drawing/2014/main" id="{AE986161-72F5-4A12-9266-17C6A30B9F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4" t="36405" r="6780" b="35885"/>
          <a:stretch/>
        </p:blipFill>
        <p:spPr bwMode="ltGray">
          <a:xfrm>
            <a:off x="2851501" y="762695"/>
            <a:ext cx="2264759" cy="96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99576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GB" sz="1875" b="0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28600" y="1632067"/>
            <a:ext cx="2859786" cy="18281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671275" y="6584179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58058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75" smtClean="0">
                <a:solidFill>
                  <a:schemeClr val="accent5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458058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675" dirty="0">
              <a:solidFill>
                <a:schemeClr val="accent5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228600" y="6595721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latin typeface="+mj-lt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600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28600" y="41598"/>
            <a:ext cx="2882504" cy="83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solidFill>
                  <a:schemeClr val="accent5"/>
                </a:solidFill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75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691181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76907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855480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559640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34630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050489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557160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/>
              <a:t>单击图标添加图片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062211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0/5/8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05595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1.xml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5.xml"/><Relationship Id="rId7" Type="http://schemas.openxmlformats.org/officeDocument/2006/relationships/image" Target="../media/image1.emf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7.xml"/><Relationship Id="rId7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4.xml"/><Relationship Id="rId4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41.xml"/><Relationship Id="rId7" Type="http://schemas.openxmlformats.org/officeDocument/2006/relationships/image" Target="../media/image1.emf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3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2.xml"/><Relationship Id="rId5" Type="http://schemas.openxmlformats.org/officeDocument/2006/relationships/tags" Target="../tags/tag15.xml"/><Relationship Id="rId10" Type="http://schemas.openxmlformats.org/officeDocument/2006/relationships/image" Target="../media/image4.jpeg"/><Relationship Id="rId4" Type="http://schemas.openxmlformats.org/officeDocument/2006/relationships/tags" Target="../tags/tag14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6.jp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5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6588275" y="935321"/>
            <a:ext cx="18966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I-038-A0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5906855" y="1304653"/>
            <a:ext cx="254133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/>
              <a:t>E-meeting, 7-8 May 2020</a:t>
            </a:r>
            <a:endParaRPr lang="en-GB" dirty="0"/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4878581"/>
              </p:ext>
            </p:extLst>
          </p:nvPr>
        </p:nvGraphicFramePr>
        <p:xfrm>
          <a:off x="933576" y="3247161"/>
          <a:ext cx="7819899" cy="3154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53214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032910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533775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ditors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dated DEL02: Outline Describing Suggested Topics for the Regulatory Considerations on AI for Health Working Group (Draft: April 2020) - Att.1: Presentation</a:t>
                      </a:r>
                      <a:endParaRPr lang="en-GB" sz="1800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Purpos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dirty="0"/>
                        <a:t>Discussion</a:t>
                      </a:r>
                      <a:endParaRPr lang="en-GB" sz="1800" dirty="0"/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4458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dirty="0" err="1"/>
                        <a:t>Khair</a:t>
                      </a:r>
                      <a:r>
                        <a:rPr lang="en-US" dirty="0"/>
                        <a:t> </a:t>
                      </a:r>
                      <a:r>
                        <a:rPr lang="en-US" dirty="0" err="1"/>
                        <a:t>ElZarrad</a:t>
                      </a:r>
                      <a:r>
                        <a:rPr lang="en-US" dirty="0"/>
                        <a:t>, PhD, MPH (U.S. FDA)</a:t>
                      </a:r>
                    </a:p>
                    <a:p>
                      <a:r>
                        <a:rPr lang="en-US" dirty="0"/>
                        <a:t>Naomi Lee, M.D. (Lancet, UK)</a:t>
                      </a: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-mail: </a:t>
                      </a:r>
                      <a:r>
                        <a:rPr lang="en-GB" sz="1800" u="none" kern="1200" dirty="0">
                          <a:solidFill>
                            <a:schemeClr val="tx1"/>
                          </a:solidFill>
                          <a:effectLst/>
                        </a:rPr>
                        <a:t>Mohammed.ElZarrad@fda.hhs.gov</a:t>
                      </a:r>
                    </a:p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-mail: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</a:rPr>
                        <a:t>naomi.lee@lancet.com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  <a:p>
                      <a:endParaRPr lang="en-GB" sz="1800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PPT contains the presentation of FGAI4H-I-038.</a:t>
                      </a:r>
                      <a:endParaRPr lang="en-GB" sz="1800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3"/>
            <a:ext cx="7974874" cy="15645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alytical and Clinical Validation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GB" dirty="0">
                <a:latin typeface="Calibri Light" panose="020F0302020204030204" pitchFamily="34" charset="0"/>
                <a:cs typeface="Calibri Light" panose="020F0302020204030204" pitchFamily="34" charset="0"/>
              </a:rPr>
              <a:t>Developers can establish trust in their AI solution by performing </a:t>
            </a:r>
            <a:r>
              <a:rPr lang="en-GB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well-documented technical and clinical validation steps throughout its lifecycle</a:t>
            </a:r>
            <a:r>
              <a:rPr lang="en-GB" dirty="0"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B2361C-8E63-4348-95B0-1A45C9F22841}"/>
              </a:ext>
            </a:extLst>
          </p:cNvPr>
          <p:cNvSpPr txBox="1"/>
          <p:nvPr/>
        </p:nvSpPr>
        <p:spPr>
          <a:xfrm>
            <a:off x="4251961" y="4057738"/>
            <a:ext cx="740423" cy="85727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en-GB" sz="900" dirty="0"/>
              <a:t>IMDRF description of clinical evaluation components </a:t>
            </a:r>
            <a:endParaRPr lang="en-US" sz="9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046197-32B9-46D9-AC1A-B2DE480A1765}"/>
              </a:ext>
            </a:extLst>
          </p:cNvPr>
          <p:cNvSpPr txBox="1"/>
          <p:nvPr/>
        </p:nvSpPr>
        <p:spPr>
          <a:xfrm>
            <a:off x="5499463" y="4469130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12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5208A36-B482-4025-B83F-ADFBB2E3817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06286" y="2463982"/>
            <a:ext cx="5701937" cy="1593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6730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3"/>
            <a:ext cx="7974874" cy="5557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laboration and Engagement</a:t>
            </a: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Stakeholder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Establishing a </a:t>
            </a:r>
            <a:r>
              <a:rPr lang="en-US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mon understanding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of the technology, its implications, and regulatory considerations between stakeholders will support the responsible development of AI-related health tools and enhance clarity throughout the process. </a:t>
            </a:r>
          </a:p>
          <a:p>
            <a:pPr lvl="1"/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latin typeface="Calibri" panose="020F0502020204030204" pitchFamily="34" charset="0"/>
                <a:cs typeface="Calibri" panose="020F0502020204030204" pitchFamily="34" charset="0"/>
              </a:rPr>
              <a:t>Developers and Regulators</a:t>
            </a:r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Developers may want to consider engaging with regulators </a:t>
            </a:r>
            <a:r>
              <a:rPr lang="en-US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arly in the development process 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o address any critical issues that may have regulatory implications and to ensure that they are </a:t>
            </a:r>
            <a:r>
              <a:rPr lang="en-US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urately accounting for the complexity of the clinical and public health contexts of the AI solution’s intended use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</a:p>
          <a:p>
            <a:pPr lvl="1"/>
            <a:endParaRPr lang="en-US" dirty="0">
              <a:highlight>
                <a:srgbClr val="FFFF00"/>
              </a:highligh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gulatory Agencies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xpand on current collaboration and ensure that AI is considered.</a:t>
            </a:r>
          </a:p>
          <a:p>
            <a:r>
              <a:rPr lang="en-US" sz="16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	</a:t>
            </a: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B2361C-8E63-4348-95B0-1A45C9F22841}"/>
              </a:ext>
            </a:extLst>
          </p:cNvPr>
          <p:cNvSpPr txBox="1"/>
          <p:nvPr/>
        </p:nvSpPr>
        <p:spPr>
          <a:xfrm>
            <a:off x="4251961" y="4057738"/>
            <a:ext cx="740423" cy="85727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9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046197-32B9-46D9-AC1A-B2DE480A1765}"/>
              </a:ext>
            </a:extLst>
          </p:cNvPr>
          <p:cNvSpPr txBox="1"/>
          <p:nvPr/>
        </p:nvSpPr>
        <p:spPr>
          <a:xfrm>
            <a:off x="5499463" y="4469130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2526310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2"/>
            <a:ext cx="7974874" cy="4472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Protection and Information Privacy</a:t>
            </a: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re than forty countries have enacted data protection regulations or information privacy laws and many other countries are in the process of enacting such laws. </a:t>
            </a:r>
          </a:p>
          <a:p>
            <a:endParaRPr lang="en-GB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hen developing an AI solution for therapeutic development or healthcare applications, early in the development process developers should consider </a:t>
            </a:r>
            <a:r>
              <a:rPr lang="en-GB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ining an understanding of applicable data protection regulations and information privacy laws</a:t>
            </a: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including special regulatory provisions related to sensitive data, such as genetic data. </a:t>
            </a:r>
          </a:p>
          <a:p>
            <a:endParaRPr lang="en-GB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00075" lvl="1" indent="-257175">
              <a:buFont typeface="Arial" panose="020B0604020202020204" pitchFamily="34" charset="0"/>
              <a:buChar char="•"/>
            </a:pP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Developers should be aware of the nuances of the different jurisdictions’ regulations and laws and consider </a:t>
            </a:r>
            <a:r>
              <a:rPr lang="en-GB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umenting their data protection practices accordingly</a:t>
            </a:r>
            <a:r>
              <a:rPr lang="en-GB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B2361C-8E63-4348-95B0-1A45C9F22841}"/>
              </a:ext>
            </a:extLst>
          </p:cNvPr>
          <p:cNvSpPr txBox="1"/>
          <p:nvPr/>
        </p:nvSpPr>
        <p:spPr>
          <a:xfrm>
            <a:off x="4251961" y="4057738"/>
            <a:ext cx="740423" cy="85727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9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046197-32B9-46D9-AC1A-B2DE480A1765}"/>
              </a:ext>
            </a:extLst>
          </p:cNvPr>
          <p:cNvSpPr txBox="1"/>
          <p:nvPr/>
        </p:nvSpPr>
        <p:spPr>
          <a:xfrm>
            <a:off x="5499463" y="4469130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0454378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3"/>
            <a:ext cx="7974874" cy="4857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900"/>
              </a:spcAft>
            </a:pPr>
            <a:r>
              <a:rPr lang="en-US" sz="225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siderations for Regulating and Assessing AI for Health in Low-Resource Settings</a:t>
            </a:r>
          </a:p>
          <a:p>
            <a:pPr marL="257175" indent="-257175">
              <a:spcAft>
                <a:spcPts val="900"/>
              </a:spcAft>
              <a:buFont typeface="+mj-lt"/>
              <a:buAutoNum type="arabicPeriod"/>
            </a:pPr>
            <a:r>
              <a:rPr lang="en-GB" dirty="0"/>
              <a:t>Fully understand the complexity of the healthcare needs in the specific setting.</a:t>
            </a:r>
          </a:p>
          <a:p>
            <a:pPr marL="257175" indent="-257175">
              <a:spcAft>
                <a:spcPts val="900"/>
              </a:spcAft>
              <a:buFont typeface="+mj-lt"/>
              <a:buAutoNum type="arabicPeriod"/>
            </a:pPr>
            <a:r>
              <a:rPr lang="en-GB" dirty="0"/>
              <a:t>Encourage dialogue between all stakeholders to assure that the development of the AI solution is responsive to the needs and specifics of the setting.</a:t>
            </a:r>
            <a:endParaRPr lang="en-US" dirty="0"/>
          </a:p>
          <a:p>
            <a:pPr marL="257175" indent="-257175">
              <a:spcAft>
                <a:spcPts val="900"/>
              </a:spcAft>
              <a:buFont typeface="+mj-lt"/>
              <a:buAutoNum type="arabicPeriod"/>
            </a:pPr>
            <a:r>
              <a:rPr lang="en-GB" dirty="0"/>
              <a:t>Identify and dedicate the needed resources to facilitate the development, testing, and deployment of the AI solution.</a:t>
            </a:r>
            <a:endParaRPr lang="en-US" dirty="0"/>
          </a:p>
          <a:p>
            <a:pPr marL="257175" indent="-257175">
              <a:spcAft>
                <a:spcPts val="900"/>
              </a:spcAft>
              <a:buFont typeface="+mj-lt"/>
              <a:buAutoNum type="arabicPeriod"/>
            </a:pPr>
            <a:r>
              <a:rPr lang="en-GB" dirty="0"/>
              <a:t>Determine the regulatory and governance needs to ensure that the AI solution is safe and effective.</a:t>
            </a:r>
            <a:endParaRPr lang="en-US" dirty="0"/>
          </a:p>
          <a:p>
            <a:pPr marL="257175" indent="-257175">
              <a:spcAft>
                <a:spcPts val="900"/>
              </a:spcAft>
              <a:buFont typeface="+mj-lt"/>
              <a:buAutoNum type="arabicPeriod"/>
            </a:pPr>
            <a:r>
              <a:rPr lang="en-GB" dirty="0"/>
              <a:t>Ensure effective communication and collaboration between stakeholders to facilitate all of the processes. </a:t>
            </a:r>
            <a:endParaRPr lang="en-US" dirty="0"/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CB2361C-8E63-4348-95B0-1A45C9F22841}"/>
              </a:ext>
            </a:extLst>
          </p:cNvPr>
          <p:cNvSpPr txBox="1"/>
          <p:nvPr/>
        </p:nvSpPr>
        <p:spPr>
          <a:xfrm>
            <a:off x="4251961" y="4057738"/>
            <a:ext cx="740423" cy="85727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9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046197-32B9-46D9-AC1A-B2DE480A1765}"/>
              </a:ext>
            </a:extLst>
          </p:cNvPr>
          <p:cNvSpPr txBox="1"/>
          <p:nvPr/>
        </p:nvSpPr>
        <p:spPr>
          <a:xfrm>
            <a:off x="5499463" y="4469130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4149546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38700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30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G-RC Initial Meeting – May 4-5, 2020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Attendance: </a:t>
            </a:r>
            <a:r>
              <a:rPr lang="en-GB" sz="2400" dirty="0">
                <a:solidFill>
                  <a:prstClr val="black"/>
                </a:solidFill>
                <a:latin typeface="Calibri" panose="020F0502020204030204"/>
              </a:rPr>
              <a:t>O</a:t>
            </a:r>
            <a:r>
              <a:rPr lang="en-DE" sz="2400" dirty="0">
                <a:solidFill>
                  <a:prstClr val="black"/>
                </a:solidFill>
                <a:latin typeface="Calibri" panose="020F0502020204030204"/>
              </a:rPr>
              <a:t>ver 60 participants from different stakeholder communities</a:t>
            </a:r>
            <a:endParaRPr lang="en-US" sz="2400" dirty="0">
              <a:solidFill>
                <a:prstClr val="black"/>
              </a:solidFill>
              <a:latin typeface="Calibri" panose="020F0502020204030204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Discussion of the proposed outline of the deliverable and topic areas for key regulatory considerations (which were reviewed in the previous slides)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0314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4814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300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xt steps– up to July, 2020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Subgroups will meet to discuss and develop different topic areas. They will meet at least twice before the next WG meeting. 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Build on the initial outline document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Arrange a further meeting for all sub groups to talk further about the work </a:t>
            </a:r>
            <a:r>
              <a:rPr lang="en-US" sz="2400">
                <a:latin typeface="Calibri" panose="020F0502020204030204" pitchFamily="34" charset="0"/>
                <a:ea typeface="Times New Roman" panose="02020603050405020304" pitchFamily="18" charset="0"/>
              </a:rPr>
              <a:t>of the FG</a:t>
            </a:r>
            <a:endParaRPr lang="en-US" sz="2400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Next working group meeting in July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915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6" hidden="1">
            <a:extLst>
              <a:ext uri="{FF2B5EF4-FFF2-40B4-BE49-F238E27FC236}">
                <a16:creationId xmlns:a16="http://schemas.microsoft.com/office/drawing/2014/main" id="{BA7BF67E-C462-418C-AC85-20FC5AFD22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6" name="Object 6" hidden="1">
                        <a:extLst>
                          <a:ext uri="{FF2B5EF4-FFF2-40B4-BE49-F238E27FC236}">
                            <a16:creationId xmlns:a16="http://schemas.microsoft.com/office/drawing/2014/main" id="{BA7BF67E-C462-418C-AC85-20FC5AFD2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8FF9EA98-B841-43D8-9660-C250B568922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33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07CCB464-A420-4E9C-A841-17F2C517B00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851501" y="4211675"/>
            <a:ext cx="6127204" cy="520890"/>
          </a:xfrm>
        </p:spPr>
        <p:txBody>
          <a:bodyPr/>
          <a:lstStyle/>
          <a:p>
            <a:r>
              <a:rPr lang="en-GB" dirty="0"/>
              <a:t>DEL02: Outline Describing </a:t>
            </a:r>
            <a:r>
              <a:rPr lang="en-US" dirty="0"/>
              <a:t>Suggested Topics for Regulatory Considerations on AI for Health</a:t>
            </a:r>
          </a:p>
          <a:p>
            <a:endParaRPr lang="en-US" dirty="0"/>
          </a:p>
          <a:p>
            <a:r>
              <a:rPr lang="en-US" dirty="0"/>
              <a:t>Khair ElZarrad, PhD, MPH (U.S. FDA)</a:t>
            </a:r>
          </a:p>
          <a:p>
            <a:r>
              <a:rPr lang="en-US" dirty="0"/>
              <a:t>Naomi Lee, M.D. (Lancet, UK)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B614C366-D9AB-4E25-AB87-602A6962A954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2851501" y="2372407"/>
            <a:ext cx="5874591" cy="1463478"/>
          </a:xfrm>
        </p:spPr>
        <p:txBody>
          <a:bodyPr/>
          <a:lstStyle/>
          <a:p>
            <a:r>
              <a:rPr lang="en-GB" dirty="0"/>
              <a:t>Working Group on Regulatory Considerations on AI for Health (WG-RC)</a:t>
            </a:r>
          </a:p>
        </p:txBody>
      </p:sp>
      <p:pic>
        <p:nvPicPr>
          <p:cNvPr id="34828" name="Picture 12" descr="History of ITU's Logo">
            <a:extLst>
              <a:ext uri="{FF2B5EF4-FFF2-40B4-BE49-F238E27FC236}">
                <a16:creationId xmlns:a16="http://schemas.microsoft.com/office/drawing/2014/main" id="{08C369B0-4ED9-45E9-858A-18785E738D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277" y="1228909"/>
            <a:ext cx="976272" cy="10315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504336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5083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7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rpose &amp; Scope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A </a:t>
            </a:r>
            <a:r>
              <a:rPr lang="en-US" sz="21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high-level overview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of key regulatory considerations for the use of AI in healthcare and therapeutic development</a:t>
            </a:r>
          </a:p>
          <a:p>
            <a:pPr marL="685800" lvl="1" indent="-34290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A </a:t>
            </a:r>
            <a:r>
              <a:rPr lang="en-US" sz="21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resource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that can be considered by:</a:t>
            </a:r>
          </a:p>
          <a:p>
            <a:pPr marL="10287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100" u="sng" dirty="0">
                <a:latin typeface="Calibri" panose="020F0502020204030204" pitchFamily="34" charset="0"/>
                <a:ea typeface="Times New Roman" panose="02020603050405020304" pitchFamily="18" charset="0"/>
              </a:rPr>
              <a:t>regulators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who might be in the process of identifying approaches to manage and facilitate AI solutions</a:t>
            </a:r>
          </a:p>
          <a:p>
            <a:pPr marL="1028700" lvl="2" indent="-342900">
              <a:lnSpc>
                <a:spcPct val="107000"/>
              </a:lnSpc>
              <a:buFont typeface="Wingdings" panose="05000000000000000000" pitchFamily="2" charset="2"/>
              <a:buChar char="§"/>
            </a:pPr>
            <a:r>
              <a:rPr lang="en-US" sz="2100" u="sng" dirty="0">
                <a:latin typeface="Calibri" panose="020F0502020204030204" pitchFamily="34" charset="0"/>
                <a:ea typeface="Times New Roman" panose="02020603050405020304" pitchFamily="18" charset="0"/>
              </a:rPr>
              <a:t>developers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who are exploring AI solutions</a:t>
            </a:r>
          </a:p>
          <a:p>
            <a:pPr marL="1028700" lvl="2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100" u="sng" dirty="0">
                <a:latin typeface="Calibri" panose="020F0502020204030204" pitchFamily="34" charset="0"/>
                <a:ea typeface="Times New Roman" panose="02020603050405020304" pitchFamily="18" charset="0"/>
              </a:rPr>
              <a:t>other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</a:t>
            </a:r>
            <a:r>
              <a:rPr lang="en-US" sz="2100" u="sng" dirty="0">
                <a:latin typeface="Calibri" panose="020F0502020204030204" pitchFamily="34" charset="0"/>
                <a:ea typeface="Times New Roman" panose="02020603050405020304" pitchFamily="18" charset="0"/>
              </a:rPr>
              <a:t>stakeholders</a:t>
            </a: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i="1" dirty="0">
                <a:latin typeface="Calibri" panose="020F0502020204030204" pitchFamily="34" charset="0"/>
                <a:ea typeface="Times New Roman" panose="02020603050405020304" pitchFamily="18" charset="0"/>
              </a:rPr>
              <a:t>Not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intended to be a guidance, regulation, or policy </a:t>
            </a: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100" i="1" dirty="0">
                <a:latin typeface="Calibri" panose="020F0502020204030204" pitchFamily="34" charset="0"/>
                <a:ea typeface="Times New Roman" panose="02020603050405020304" pitchFamily="18" charset="0"/>
              </a:rPr>
              <a:t>Not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a substitute for planned and/or ongoing efforts to develop frameworks </a:t>
            </a:r>
            <a:endParaRPr lang="en-US" sz="21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0169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3623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7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rpose &amp; Scope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Act as the point of contact between the FG and regulators: 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Provide </a:t>
            </a:r>
            <a:r>
              <a:rPr lang="en-US" sz="21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input on regulatory considerations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 for the FG to consider in their work. Enabling the FG to be up to date on regulatory processes, and align where possible.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To </a:t>
            </a:r>
            <a:r>
              <a:rPr lang="en-US" sz="2100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inform regulators </a:t>
            </a:r>
            <a:r>
              <a:rPr lang="en-US" sz="2100" dirty="0">
                <a:latin typeface="Calibri" panose="020F0502020204030204" pitchFamily="34" charset="0"/>
                <a:ea typeface="Times New Roman" panose="02020603050405020304" pitchFamily="18" charset="0"/>
              </a:rPr>
              <a:t>about the work of the FG. Enabling regulators to use the work of the FG in their processes.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5" y="5497210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51146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50615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</a:pPr>
            <a:r>
              <a:rPr lang="en-US" sz="30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pic Areas for Regulatory Considerations</a:t>
            </a:r>
          </a:p>
          <a:p>
            <a:pPr algn="ctr">
              <a:lnSpc>
                <a:spcPct val="107000"/>
              </a:lnSpc>
            </a:pPr>
            <a:endParaRPr lang="en-US" sz="24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0" lvl="4" indent="-342900">
              <a:lnSpc>
                <a:spcPct val="107000"/>
              </a:lnSpc>
              <a:buAutoNum type="arabicPeriod"/>
            </a:pP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</a:rPr>
              <a:t>Documentation and Transparency</a:t>
            </a:r>
          </a:p>
          <a:p>
            <a:pPr marL="1718072" lvl="4" indent="-346472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</a:rPr>
              <a:t>Risk Management and Lifecycle Approach</a:t>
            </a:r>
          </a:p>
          <a:p>
            <a:pPr marL="1718072" lvl="4" indent="-346472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</a:rPr>
              <a:t>Data Quality</a:t>
            </a:r>
          </a:p>
          <a:p>
            <a:pPr marL="1714500" lvl="4" indent="-342900">
              <a:lnSpc>
                <a:spcPct val="107000"/>
              </a:lnSpc>
              <a:spcAft>
                <a:spcPts val="600"/>
              </a:spcAft>
              <a:buAutoNum type="arabicPeriod"/>
            </a:pP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</a:rPr>
              <a:t>Analytical and Clinical Validation</a:t>
            </a:r>
          </a:p>
          <a:p>
            <a:pPr marL="1714500" lvl="4" indent="-342900">
              <a:lnSpc>
                <a:spcPct val="107000"/>
              </a:lnSpc>
              <a:spcAft>
                <a:spcPts val="600"/>
              </a:spcAft>
              <a:buAutoNum type="arabicPeriod"/>
            </a:pP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</a:rPr>
              <a:t>Engagement and Collaboration</a:t>
            </a:r>
          </a:p>
          <a:p>
            <a:pPr marL="1714500" lvl="4" indent="-342900">
              <a:lnSpc>
                <a:spcPct val="107000"/>
              </a:lnSpc>
              <a:spcAft>
                <a:spcPts val="600"/>
              </a:spcAft>
              <a:buAutoNum type="arabicPeriod"/>
            </a:pPr>
            <a:r>
              <a:rPr lang="en-US" sz="2700" dirty="0">
                <a:latin typeface="Calibri" panose="020F0502020204030204" pitchFamily="34" charset="0"/>
                <a:ea typeface="Calibri" panose="020F0502020204030204" pitchFamily="34" charset="0"/>
              </a:rPr>
              <a:t>Data Protection and Information Privacy</a:t>
            </a:r>
            <a:endParaRPr lang="en-US" sz="15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1500" dirty="0">
                <a:latin typeface="Calibri" panose="020F0502020204030204" pitchFamily="34" charset="0"/>
                <a:ea typeface="Calibri" panose="020F0502020204030204" pitchFamily="34" charset="0"/>
              </a:rPr>
              <a:t>Note: these topic areas are not fully inclusive 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26151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150714" y="1247707"/>
            <a:ext cx="8164273" cy="57802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cumentation and Transparency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1"/>
                </a:solidFill>
              </a:rPr>
              <a:t>Transparency and effective documentation </a:t>
            </a:r>
            <a:r>
              <a:rPr lang="en-US" dirty="0"/>
              <a:t>are essential for AI solutions and systems that may be subject to regulatory review.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1"/>
                </a:solidFill>
              </a:rPr>
              <a:t>Prespecifying</a:t>
            </a:r>
            <a:r>
              <a:rPr lang="en-US" dirty="0"/>
              <a:t> and </a:t>
            </a:r>
            <a:r>
              <a:rPr lang="en-US" dirty="0">
                <a:solidFill>
                  <a:schemeClr val="accent1"/>
                </a:solidFill>
              </a:rPr>
              <a:t>documenting the development, validation, and piloting of AI solutions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en-US" dirty="0"/>
              <a:t>are important factors that will help establish trust and confidence and guard against biases and data dredging. </a:t>
            </a:r>
          </a:p>
          <a:p>
            <a:pPr marL="600075" lvl="1" indent="-257175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It is important for regulators to be able to trace back the development process and to have evidence and documentation of essential steps and decision points. 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It is also important to note that systems used to track and document development processes and key decision points should be designed to </a:t>
            </a:r>
            <a:r>
              <a:rPr lang="en-US" dirty="0">
                <a:solidFill>
                  <a:schemeClr val="accent1"/>
                </a:solidFill>
              </a:rPr>
              <a:t>protect against data manipulation and adversarial attacks</a:t>
            </a:r>
            <a:r>
              <a:rPr lang="en-US" dirty="0"/>
              <a:t>, and to </a:t>
            </a:r>
            <a:r>
              <a:rPr lang="en-US" dirty="0">
                <a:solidFill>
                  <a:schemeClr val="accent1"/>
                </a:solidFill>
              </a:rPr>
              <a:t>track and record access and any changes applied</a:t>
            </a:r>
            <a:r>
              <a:rPr lang="en-US" dirty="0"/>
              <a:t>. 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AutoNum type="arabicPeriod"/>
            </a:pPr>
            <a:endParaRPr lang="en-US" sz="15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15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34951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3"/>
            <a:ext cx="7974874" cy="41023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k Management and Lifecycle Approach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65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he controls and measures put in place to ensure that an AI solution functions as expected while minimizing any risk should be </a:t>
            </a:r>
            <a:r>
              <a:rPr lang="en-US" sz="165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portional to the risks that could be imposed if the AI solution were to malfunction. 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endParaRPr lang="en-US" sz="165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2">
              <a:lnSpc>
                <a:spcPct val="107000"/>
              </a:lnSpc>
              <a:spcAft>
                <a:spcPts val="600"/>
              </a:spcAft>
            </a:pPr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. </a:t>
            </a:r>
            <a:r>
              <a:rPr lang="en-GB" sz="1650" dirty="0">
                <a:latin typeface="Calibri" panose="020F0502020204030204" pitchFamily="34" charset="0"/>
                <a:cs typeface="Calibri" panose="020F0502020204030204" pitchFamily="34" charset="0"/>
              </a:rPr>
              <a:t>Developers need to consider the </a:t>
            </a:r>
            <a:r>
              <a:rPr lang="en-GB" sz="1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nded use </a:t>
            </a:r>
            <a:r>
              <a:rPr lang="en-GB" sz="1650" dirty="0">
                <a:latin typeface="Calibri" panose="020F0502020204030204" pitchFamily="34" charset="0"/>
                <a:cs typeface="Calibri" panose="020F0502020204030204" pitchFamily="34" charset="0"/>
              </a:rPr>
              <a:t>of the AI solution and the </a:t>
            </a:r>
            <a:r>
              <a:rPr lang="en-GB" sz="1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linical context</a:t>
            </a:r>
            <a:r>
              <a:rPr lang="en-GB" sz="1650" dirty="0">
                <a:latin typeface="Calibri" panose="020F0502020204030204" pitchFamily="34" charset="0"/>
                <a:cs typeface="Calibri" panose="020F0502020204030204" pitchFamily="34" charset="0"/>
              </a:rPr>
              <a:t>, if appropriate, to evaluate the level of risk. 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650" dirty="0">
                <a:latin typeface="Calibri" panose="020F0502020204030204" pitchFamily="34" charset="0"/>
                <a:ea typeface="Calibri" panose="020F0502020204030204" pitchFamily="34" charset="0"/>
              </a:rPr>
              <a:t>				</a:t>
            </a: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BAFCBE7-8623-4611-87FE-F163B0DB6C3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58906" y="2408477"/>
            <a:ext cx="1964531" cy="130730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3CD510D-B65B-448F-A73D-488BB3E569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282066" y="2408477"/>
            <a:ext cx="1964531" cy="137262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6CA4E5-2B2C-4693-B1EA-12439D84E2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446440" y="4331970"/>
            <a:ext cx="5665784" cy="149461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C81DBCC-C9F7-48F4-9B06-F4C5917F9BFC}"/>
              </a:ext>
            </a:extLst>
          </p:cNvPr>
          <p:cNvSpPr txBox="1"/>
          <p:nvPr/>
        </p:nvSpPr>
        <p:spPr>
          <a:xfrm>
            <a:off x="4572000" y="5978309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12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D9A9B80-8101-4CC1-BAA5-D43F3B41B74A}"/>
              </a:ext>
            </a:extLst>
          </p:cNvPr>
          <p:cNvSpPr/>
          <p:nvPr/>
        </p:nvSpPr>
        <p:spPr>
          <a:xfrm flipH="1">
            <a:off x="4661265" y="5784674"/>
            <a:ext cx="304749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900" dirty="0" err="1">
                <a:latin typeface="Times New Roman" panose="02020603050405020304" pitchFamily="18" charset="0"/>
                <a:ea typeface="Calibri" panose="020F0502020204030204" pitchFamily="34" charset="0"/>
              </a:rPr>
              <a:t>SaMD</a:t>
            </a:r>
            <a:r>
              <a:rPr lang="en-GB" sz="900" dirty="0">
                <a:latin typeface="Times New Roman" panose="02020603050405020304" pitchFamily="18" charset="0"/>
                <a:ea typeface="Calibri" panose="020F0502020204030204" pitchFamily="34" charset="0"/>
              </a:rPr>
              <a:t> IMDRF risk categorization 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651591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3"/>
            <a:ext cx="7974874" cy="2717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tal Product Lifecycle Approach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GB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 lifecycle approach that involves good machine learning practices throughout the development and deployment of adaptive AI/ML solutions can </a:t>
            </a:r>
            <a:r>
              <a:rPr lang="en-GB" dirty="0">
                <a:solidFill>
                  <a:schemeClr val="accent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acilitate continuous learning and product improvement while providing effective safeguards</a:t>
            </a:r>
            <a:endParaRPr lang="en-US" sz="1650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2">
              <a:lnSpc>
                <a:spcPct val="107000"/>
              </a:lnSpc>
              <a:spcAft>
                <a:spcPts val="600"/>
              </a:spcAft>
            </a:pPr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E63241AD-A375-486F-9733-66667841107B}"/>
              </a:ext>
            </a:extLst>
          </p:cNvPr>
          <p:cNvSpPr txBox="1"/>
          <p:nvPr/>
        </p:nvSpPr>
        <p:spPr>
          <a:xfrm>
            <a:off x="4767943" y="5043896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9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7165C44-E4A2-4EDA-BC1C-502D6CDB995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314450" y="2506583"/>
            <a:ext cx="6340101" cy="2947133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E7CE5C6-EB16-4193-B140-BBEC1DD115DA}"/>
              </a:ext>
            </a:extLst>
          </p:cNvPr>
          <p:cNvSpPr txBox="1"/>
          <p:nvPr/>
        </p:nvSpPr>
        <p:spPr>
          <a:xfrm>
            <a:off x="4572000" y="4991645"/>
            <a:ext cx="685800" cy="6858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endParaRPr lang="en-US" sz="12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D193B-6AD8-4679-B598-6815E69A8BF6}"/>
              </a:ext>
            </a:extLst>
          </p:cNvPr>
          <p:cNvSpPr/>
          <p:nvPr/>
        </p:nvSpPr>
        <p:spPr>
          <a:xfrm>
            <a:off x="3932871" y="5505967"/>
            <a:ext cx="370807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</a:pPr>
            <a:r>
              <a:rPr lang="en-GB" sz="900" dirty="0"/>
              <a:t>Overlay of FDA’s TPLC approach on AI/ML workflow 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3941977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>
            <a:extLst>
              <a:ext uri="{FF2B5EF4-FFF2-40B4-BE49-F238E27FC236}">
                <a16:creationId xmlns:a16="http://schemas.microsoft.com/office/drawing/2014/main" id="{96298FA7-4927-46E4-B72B-624A8CD543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8" name="Object 9" hidden="1">
                        <a:extLst>
                          <a:ext uri="{FF2B5EF4-FFF2-40B4-BE49-F238E27FC236}">
                            <a16:creationId xmlns:a16="http://schemas.microsoft.com/office/drawing/2014/main" id="{96298FA7-4927-46E4-B72B-624A8CD543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8" hidden="1">
            <a:extLst>
              <a:ext uri="{FF2B5EF4-FFF2-40B4-BE49-F238E27FC236}">
                <a16:creationId xmlns:a16="http://schemas.microsoft.com/office/drawing/2014/main" id="{DC2E7930-3F96-4323-B2D9-9666FD2D75A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GB" sz="1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6F883B2-F504-4FDA-AC76-D1FF1F53FB8A}"/>
              </a:ext>
            </a:extLst>
          </p:cNvPr>
          <p:cNvSpPr/>
          <p:nvPr/>
        </p:nvSpPr>
        <p:spPr>
          <a:xfrm>
            <a:off x="248195" y="976313"/>
            <a:ext cx="7974874" cy="60165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en-US" sz="2400" u="sng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ata Quality </a:t>
            </a:r>
          </a:p>
          <a:p>
            <a:pPr marL="342900" indent="-342900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6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Harmonizing data from </a:t>
            </a:r>
            <a:r>
              <a:rPr lang="en-US" sz="165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ifferent sources, standards, and formats </a:t>
            </a:r>
            <a:r>
              <a:rPr lang="en-US" sz="165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to a coherent dataset(s)for the purpose of its comprehensive analysis is especially challenging when using healthcare data.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US" sz="1650" dirty="0">
                <a:latin typeface="Calibri" panose="020F0502020204030204" pitchFamily="34" charset="0"/>
                <a:cs typeface="Calibri" panose="020F0502020204030204" pitchFamily="34" charset="0"/>
              </a:rPr>
              <a:t>Examples of factors that may affect the quality of health data include:</a:t>
            </a:r>
          </a:p>
          <a:p>
            <a:pPr marL="600075" lvl="1" indent="-2571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650" dirty="0">
                <a:latin typeface="Calibri" panose="020F0502020204030204" pitchFamily="34" charset="0"/>
                <a:cs typeface="Calibri" panose="020F0502020204030204" pitchFamily="34" charset="0"/>
              </a:rPr>
              <a:t>Bias</a:t>
            </a:r>
          </a:p>
          <a:p>
            <a:pPr marL="600075" lvl="1" indent="-2571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650" dirty="0">
                <a:latin typeface="Calibri" panose="020F0502020204030204" pitchFamily="34" charset="0"/>
                <a:cs typeface="Calibri" panose="020F0502020204030204" pitchFamily="34" charset="0"/>
              </a:rPr>
              <a:t>Missing values</a:t>
            </a:r>
          </a:p>
          <a:p>
            <a:pPr marL="600075" lvl="1" indent="-2571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en-US" sz="1650" dirty="0">
                <a:latin typeface="Calibri" panose="020F0502020204030204" pitchFamily="34" charset="0"/>
                <a:cs typeface="Calibri" panose="020F0502020204030204" pitchFamily="34" charset="0"/>
              </a:rPr>
              <a:t>Outliers</a:t>
            </a:r>
          </a:p>
          <a:p>
            <a:pPr marL="600075" lvl="1" indent="-257175">
              <a:lnSpc>
                <a:spcPct val="107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50" dirty="0">
                <a:latin typeface="Calibri" panose="020F0502020204030204" pitchFamily="34" charset="0"/>
                <a:cs typeface="Calibri" panose="020F0502020204030204" pitchFamily="34" charset="0"/>
              </a:rPr>
              <a:t>Errors</a:t>
            </a:r>
            <a:endParaRPr lang="en-US" sz="165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50" dirty="0">
                <a:latin typeface="Calibri" panose="020F0502020204030204" pitchFamily="34" charset="0"/>
                <a:cs typeface="Calibri" panose="020F0502020204030204" pitchFamily="34" charset="0"/>
              </a:rPr>
              <a:t>If data quality issues are identified early, the resulting possible harm could potentially be ameliorated with </a:t>
            </a:r>
            <a:r>
              <a:rPr lang="en-GB" sz="1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eful design </a:t>
            </a:r>
            <a:r>
              <a:rPr lang="en-GB" sz="1650" dirty="0">
                <a:latin typeface="Calibri" panose="020F0502020204030204" pitchFamily="34" charset="0"/>
                <a:cs typeface="Calibri" panose="020F0502020204030204" pitchFamily="34" charset="0"/>
              </a:rPr>
              <a:t>or </a:t>
            </a:r>
            <a:r>
              <a:rPr lang="en-GB" sz="1650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mpt troubleshooting. </a:t>
            </a:r>
          </a:p>
          <a:p>
            <a:pPr marL="257175" indent="-257175">
              <a:lnSpc>
                <a:spcPct val="107000"/>
              </a:lnSpc>
              <a:spcAft>
                <a:spcPts val="600"/>
              </a:spcAft>
              <a:buFont typeface="+mj-lt"/>
              <a:buAutoNum type="arabicPeriod"/>
            </a:pPr>
            <a:r>
              <a:rPr lang="en-GB" sz="165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o mitigate the unique data quality issues that arise in healthcare data and the associated risks, stakeholders should continue to work to create </a:t>
            </a:r>
            <a:r>
              <a:rPr lang="en-US" sz="1650" dirty="0">
                <a:solidFill>
                  <a:schemeClr val="accent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ata ecosystems to facilitate the sharing of good-quality data sources.</a:t>
            </a:r>
          </a:p>
          <a:p>
            <a:pPr lvl="2">
              <a:lnSpc>
                <a:spcPct val="107000"/>
              </a:lnSpc>
              <a:spcAft>
                <a:spcPts val="600"/>
              </a:spcAft>
            </a:pPr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65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en-US" sz="1650" dirty="0">
                <a:latin typeface="Calibri" panose="020F0502020204030204" pitchFamily="34" charset="0"/>
                <a:ea typeface="Calibri" panose="020F0502020204030204" pitchFamily="34" charset="0"/>
              </a:rPr>
              <a:t>				</a:t>
            </a:r>
            <a:endParaRPr lang="en-US" u="sng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685800" lvl="1" indent="-342900">
              <a:lnSpc>
                <a:spcPct val="107000"/>
              </a:lnSpc>
              <a:spcAft>
                <a:spcPts val="600"/>
              </a:spcAft>
              <a:buFont typeface="Courier New" panose="02070309020205020404" pitchFamily="49" charset="0"/>
              <a:buChar char="o"/>
            </a:pPr>
            <a:endParaRPr lang="en-US" sz="2100" b="1" dirty="0">
              <a:solidFill>
                <a:schemeClr val="accent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" name="Picture 12" descr="History of ITU's Logo">
            <a:extLst>
              <a:ext uri="{FF2B5EF4-FFF2-40B4-BE49-F238E27FC236}">
                <a16:creationId xmlns:a16="http://schemas.microsoft.com/office/drawing/2014/main" id="{F5C9902F-1EE0-4C76-B761-343DFD18A2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224" y="5505967"/>
            <a:ext cx="447012" cy="472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B0C54E6-49E8-443C-AE65-8D4B9B3687F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47518" y="2616062"/>
            <a:ext cx="2050256" cy="1250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327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WEH6UQI6_qaVOFUVcwP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LHMdtfgmPDypavVY.F_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Office 主题​​">
  <a:themeElements>
    <a:clrScheme name="Office 主题​​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主题​​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13c52cb54d6c8b687ea58071e52f4e6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19c8027f12dc0326c57fc181fc1116f3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63EBD7-2935-4DF5-8B32-08E16ED6DF09}"/>
</file>

<file path=customXml/itemProps2.xml><?xml version="1.0" encoding="utf-8"?>
<ds:datastoreItem xmlns:ds="http://schemas.openxmlformats.org/officeDocument/2006/customXml" ds:itemID="{8D757891-533E-4B08-9CC2-432445C0232A}"/>
</file>

<file path=customXml/itemProps3.xml><?xml version="1.0" encoding="utf-8"?>
<ds:datastoreItem xmlns:ds="http://schemas.openxmlformats.org/officeDocument/2006/customXml" ds:itemID="{263EDF69-883F-4630-8D5D-47FF3AA110B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772</TotalTime>
  <Words>1146</Words>
  <Application>Microsoft Office PowerPoint</Application>
  <PresentationFormat>On-screen Show (4:3)</PresentationFormat>
  <Paragraphs>142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5" baseType="lpstr">
      <vt:lpstr>等线</vt:lpstr>
      <vt:lpstr>Arial</vt:lpstr>
      <vt:lpstr>Calibri</vt:lpstr>
      <vt:lpstr>Calibri Light</vt:lpstr>
      <vt:lpstr>Courier New</vt:lpstr>
      <vt:lpstr>Segoe UI</vt:lpstr>
      <vt:lpstr>Times New Roman</vt:lpstr>
      <vt:lpstr>Wingdings</vt:lpstr>
      <vt:lpstr>Office 主题​​</vt:lpstr>
      <vt:lpstr>think-cell Slide</vt:lpstr>
      <vt:lpstr>PowerPoint Presentation</vt:lpstr>
      <vt:lpstr>Working Group on Regulatory Considerations on AI for Health (WG-RC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d DEL02 - Att.1: Presentation</dc:title>
  <dc:creator>Campos, Simao</dc:creator>
  <cp:lastModifiedBy>Dabiri, Ayda</cp:lastModifiedBy>
  <cp:revision>66</cp:revision>
  <cp:lastPrinted>2019-04-04T08:49:31Z</cp:lastPrinted>
  <dcterms:created xsi:type="dcterms:W3CDTF">2019-03-31T15:53:06Z</dcterms:created>
  <dcterms:modified xsi:type="dcterms:W3CDTF">2020-05-08T13:1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